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4"/>
    <p:sldMasterId id="2147483735" r:id="rId5"/>
  </p:sldMasterIdLst>
  <p:notesMasterIdLst>
    <p:notesMasterId r:id="rId8"/>
  </p:notesMasterIdLst>
  <p:sldIdLst>
    <p:sldId id="307" r:id="rId6"/>
    <p:sldId id="92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4660"/>
  </p:normalViewPr>
  <p:slideViewPr>
    <p:cSldViewPr snapToGrid="0">
      <p:cViewPr>
        <p:scale>
          <a:sx n="150" d="100"/>
          <a:sy n="150" d="100"/>
        </p:scale>
        <p:origin x="1068" y="332"/>
      </p:cViewPr>
      <p:guideLst>
        <p:guide orient="horz" pos="142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96505-C9A9-4D51-82DD-6C806665F7F1}" type="datetimeFigureOut">
              <a:rPr lang="de-DE" smtClean="0"/>
              <a:t>24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FEDC1-FA48-464C-828F-431D174D8E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0992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460660" y="3319323"/>
            <a:ext cx="39648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734767" y="3852933"/>
            <a:ext cx="3908400" cy="9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6460667" y="3842333"/>
            <a:ext cx="3964800" cy="10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774759" y="4016767"/>
            <a:ext cx="3828400" cy="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2133"/>
              </a:spcAft>
              <a:buNone/>
            </a:pPr>
            <a:endParaRPr sz="24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774759" y="3319323"/>
            <a:ext cx="38284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488934" y="974200"/>
            <a:ext cx="10944917" cy="2454784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148446" y="4479891"/>
            <a:ext cx="795892" cy="1195223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84350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35742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34218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84427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945300" y="3654833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5928100" y="3656545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85951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0977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60805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049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2314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0542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231400" y="3557521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0542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80395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80395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8039500" y="3557524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80395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361001" y="-748351"/>
            <a:ext cx="11503100" cy="2920985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453304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257633" y="334028"/>
            <a:ext cx="11625436" cy="5444192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3363000" y="1448600"/>
            <a:ext cx="5466000" cy="381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805500" y="1409033"/>
            <a:ext cx="11160200" cy="4846867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98503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174156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7349605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3394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3569200" y="994500"/>
            <a:ext cx="5053600" cy="9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3977735" y="2061500"/>
            <a:ext cx="4236400" cy="14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3874200" y="4390100"/>
            <a:ext cx="4443600" cy="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8864517" y="3429000"/>
            <a:ext cx="1586400" cy="1586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5" name="Google Shape;285;p24"/>
          <p:cNvSpPr/>
          <p:nvPr/>
        </p:nvSpPr>
        <p:spPr>
          <a:xfrm>
            <a:off x="2941700" y="4636133"/>
            <a:ext cx="762800" cy="762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6" name="Google Shape;286;p24"/>
          <p:cNvSpPr/>
          <p:nvPr/>
        </p:nvSpPr>
        <p:spPr>
          <a:xfrm>
            <a:off x="11068200" y="5397533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24"/>
          <p:cNvSpPr/>
          <p:nvPr/>
        </p:nvSpPr>
        <p:spPr>
          <a:xfrm>
            <a:off x="8580500" y="363865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24"/>
          <p:cNvSpPr/>
          <p:nvPr/>
        </p:nvSpPr>
        <p:spPr>
          <a:xfrm>
            <a:off x="1182600" y="1419299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24"/>
          <p:cNvSpPr/>
          <p:nvPr/>
        </p:nvSpPr>
        <p:spPr>
          <a:xfrm>
            <a:off x="1879300" y="3170700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24"/>
          <p:cNvSpPr/>
          <p:nvPr/>
        </p:nvSpPr>
        <p:spPr>
          <a:xfrm>
            <a:off x="10891717" y="2236884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24"/>
          <p:cNvSpPr/>
          <p:nvPr/>
        </p:nvSpPr>
        <p:spPr>
          <a:xfrm>
            <a:off x="843360" y="2061508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903349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2296680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8303168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83352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850800" y="7018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468208" y="337533"/>
            <a:ext cx="10149027" cy="393223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6329097" y="4404471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361001" y="986813"/>
            <a:ext cx="11503100" cy="5452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28350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72800" cy="8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07209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09833" y="107600"/>
            <a:ext cx="11974400" cy="6642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8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6043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2192000" cy="1640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203200" y="-101600"/>
            <a:ext cx="10911600" cy="103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4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80867" y="895833"/>
            <a:ext cx="10911600" cy="74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733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00244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ENTER">
    <p:bg bwMode="gray"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 hasCustomPrompt="1"/>
          </p:nvPr>
        </p:nvSpPr>
        <p:spPr bwMode="gray">
          <a:xfrm>
            <a:off x="1055344" y="0"/>
            <a:ext cx="10081312" cy="37440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defRPr sz="8800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  <a:endParaRPr lang="de-DE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55344" y="3744000"/>
            <a:ext cx="10081312" cy="2070000"/>
          </a:xfrm>
        </p:spPr>
        <p:txBody>
          <a:bodyPr/>
          <a:lstStyle>
            <a:lvl1pPr marL="0" indent="0" algn="l">
              <a:buNone/>
              <a:defRPr sz="440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9232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">
            <a:extLst>
              <a:ext uri="{FF2B5EF4-FFF2-40B4-BE49-F238E27FC236}">
                <a16:creationId xmlns:a16="http://schemas.microsoft.com/office/drawing/2014/main" id="{3EA622CB-2F1F-48FE-8B01-01179C64183F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 bwMode="gray">
          <a:xfrm>
            <a:off x="7280150" y="15120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5" name="Bild">
            <a:extLst>
              <a:ext uri="{FF2B5EF4-FFF2-40B4-BE49-F238E27FC236}">
                <a16:creationId xmlns:a16="http://schemas.microsoft.com/office/drawing/2014/main" id="{CC87BA64-5E8C-4E10-A752-ECCDD4D92F74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 bwMode="gray">
          <a:xfrm>
            <a:off x="7280150" y="29952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7" name="Bild">
            <a:extLst>
              <a:ext uri="{FF2B5EF4-FFF2-40B4-BE49-F238E27FC236}">
                <a16:creationId xmlns:a16="http://schemas.microsoft.com/office/drawing/2014/main" id="{7606C66F-EC23-41EB-8980-E2990060E397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 bwMode="gray">
          <a:xfrm>
            <a:off x="2786766" y="15120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8" name="Bild">
            <a:extLst>
              <a:ext uri="{FF2B5EF4-FFF2-40B4-BE49-F238E27FC236}">
                <a16:creationId xmlns:a16="http://schemas.microsoft.com/office/drawing/2014/main" id="{E90AC252-62E0-49FB-B495-CA5CD6ACF0C1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 bwMode="gray">
          <a:xfrm>
            <a:off x="2786766" y="29952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2" name="Bild">
            <a:extLst>
              <a:ext uri="{FF2B5EF4-FFF2-40B4-BE49-F238E27FC236}">
                <a16:creationId xmlns:a16="http://schemas.microsoft.com/office/drawing/2014/main" id="{5A934E3A-28CB-4138-9B93-F3E17035A23B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 bwMode="gray">
          <a:xfrm>
            <a:off x="540074" y="4478400"/>
            <a:ext cx="5484711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3" name="Bild">
            <a:extLst>
              <a:ext uri="{FF2B5EF4-FFF2-40B4-BE49-F238E27FC236}">
                <a16:creationId xmlns:a16="http://schemas.microsoft.com/office/drawing/2014/main" id="{DB51C676-B55C-49F1-A428-C40C9D522B79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 bwMode="gray">
          <a:xfrm>
            <a:off x="6166407" y="4478400"/>
            <a:ext cx="5484711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0" name="Bild">
            <a:extLst>
              <a:ext uri="{FF2B5EF4-FFF2-40B4-BE49-F238E27FC236}">
                <a16:creationId xmlns:a16="http://schemas.microsoft.com/office/drawing/2014/main" id="{EDBA58A3-EC37-4306-AD5F-5252EFFE59CB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 bwMode="gray">
          <a:xfrm>
            <a:off x="5033458" y="1512000"/>
            <a:ext cx="2124276" cy="281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1" name="Bild">
            <a:extLst>
              <a:ext uri="{FF2B5EF4-FFF2-40B4-BE49-F238E27FC236}">
                <a16:creationId xmlns:a16="http://schemas.microsoft.com/office/drawing/2014/main" id="{BF2E8D61-FA5F-4338-9EFB-D867D41CEF8E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 bwMode="gray">
          <a:xfrm>
            <a:off x="9526842" y="1512000"/>
            <a:ext cx="2124276" cy="281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31" name="Inhalt 6">
            <a:extLst>
              <a:ext uri="{FF2B5EF4-FFF2-40B4-BE49-F238E27FC236}">
                <a16:creationId xmlns:a16="http://schemas.microsoft.com/office/drawing/2014/main" id="{39BD1C62-6E4D-4BBC-84EA-DE5A74FF5FCC}"/>
              </a:ext>
            </a:extLst>
          </p:cNvPr>
          <p:cNvSpPr>
            <a:spLocks noGrp="1"/>
          </p:cNvSpPr>
          <p:nvPr>
            <p:ph idx="23" hasCustomPrompt="1"/>
          </p:nvPr>
        </p:nvSpPr>
        <p:spPr bwMode="gray">
          <a:xfrm>
            <a:off x="540072" y="4478400"/>
            <a:ext cx="5484712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title style</a:t>
            </a:r>
          </a:p>
        </p:txBody>
      </p:sp>
      <p:sp>
        <p:nvSpPr>
          <p:cNvPr id="32" name="Inhalt 6">
            <a:extLst>
              <a:ext uri="{FF2B5EF4-FFF2-40B4-BE49-F238E27FC236}">
                <a16:creationId xmlns:a16="http://schemas.microsoft.com/office/drawing/2014/main" id="{7C3334BF-64DC-413F-A8E4-CDDB7439678A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6166405" y="4478400"/>
            <a:ext cx="5484712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title style</a:t>
            </a:r>
          </a:p>
        </p:txBody>
      </p:sp>
      <p:sp>
        <p:nvSpPr>
          <p:cNvPr id="34" name="Inhalt 6">
            <a:extLst>
              <a:ext uri="{FF2B5EF4-FFF2-40B4-BE49-F238E27FC236}">
                <a16:creationId xmlns:a16="http://schemas.microsoft.com/office/drawing/2014/main" id="{7FBA5E69-4F0E-483D-8329-2476B9FBD5E6}"/>
              </a:ext>
            </a:extLst>
          </p:cNvPr>
          <p:cNvSpPr>
            <a:spLocks noGrp="1"/>
          </p:cNvSpPr>
          <p:nvPr>
            <p:ph idx="26" hasCustomPrompt="1"/>
          </p:nvPr>
        </p:nvSpPr>
        <p:spPr bwMode="gray">
          <a:xfrm>
            <a:off x="5033458" y="1512000"/>
            <a:ext cx="2124276" cy="28152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5" name="Inhalt 6">
            <a:extLst>
              <a:ext uri="{FF2B5EF4-FFF2-40B4-BE49-F238E27FC236}">
                <a16:creationId xmlns:a16="http://schemas.microsoft.com/office/drawing/2014/main" id="{2B4E586C-C51B-48CD-B913-7CB1ACE53090}"/>
              </a:ext>
            </a:extLst>
          </p:cNvPr>
          <p:cNvSpPr>
            <a:spLocks noGrp="1"/>
          </p:cNvSpPr>
          <p:nvPr>
            <p:ph idx="27" hasCustomPrompt="1"/>
          </p:nvPr>
        </p:nvSpPr>
        <p:spPr bwMode="gray">
          <a:xfrm>
            <a:off x="7280150" y="15120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6" name="Inhalt 6">
            <a:extLst>
              <a:ext uri="{FF2B5EF4-FFF2-40B4-BE49-F238E27FC236}">
                <a16:creationId xmlns:a16="http://schemas.microsoft.com/office/drawing/2014/main" id="{896D1088-B882-4647-BD68-51526FE12A0A}"/>
              </a:ext>
            </a:extLst>
          </p:cNvPr>
          <p:cNvSpPr>
            <a:spLocks noGrp="1"/>
          </p:cNvSpPr>
          <p:nvPr>
            <p:ph idx="28" hasCustomPrompt="1"/>
          </p:nvPr>
        </p:nvSpPr>
        <p:spPr bwMode="gray">
          <a:xfrm>
            <a:off x="9526842" y="1512000"/>
            <a:ext cx="2124276" cy="28152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7" name="Inhalt 6">
            <a:extLst>
              <a:ext uri="{FF2B5EF4-FFF2-40B4-BE49-F238E27FC236}">
                <a16:creationId xmlns:a16="http://schemas.microsoft.com/office/drawing/2014/main" id="{FFAF8FE0-81A4-4B10-8A69-97CE7FD123FA}"/>
              </a:ext>
            </a:extLst>
          </p:cNvPr>
          <p:cNvSpPr>
            <a:spLocks noGrp="1"/>
          </p:cNvSpPr>
          <p:nvPr>
            <p:ph idx="29" hasCustomPrompt="1"/>
          </p:nvPr>
        </p:nvSpPr>
        <p:spPr bwMode="gray">
          <a:xfrm>
            <a:off x="2786766" y="29952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8" name="Inhalt 6">
            <a:extLst>
              <a:ext uri="{FF2B5EF4-FFF2-40B4-BE49-F238E27FC236}">
                <a16:creationId xmlns:a16="http://schemas.microsoft.com/office/drawing/2014/main" id="{2F171A93-6BD1-40C2-80C8-B81D98D73B90}"/>
              </a:ext>
            </a:extLst>
          </p:cNvPr>
          <p:cNvSpPr>
            <a:spLocks noGrp="1"/>
          </p:cNvSpPr>
          <p:nvPr>
            <p:ph idx="30" hasCustomPrompt="1"/>
          </p:nvPr>
        </p:nvSpPr>
        <p:spPr bwMode="gray">
          <a:xfrm>
            <a:off x="7280150" y="29952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3" name="Inhalt 6">
            <a:extLst>
              <a:ext uri="{FF2B5EF4-FFF2-40B4-BE49-F238E27FC236}">
                <a16:creationId xmlns:a16="http://schemas.microsoft.com/office/drawing/2014/main" id="{B1018692-3C61-440C-AF6D-FFBA04CC6D1C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2786766" y="15120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9" name="Bild">
            <a:extLst>
              <a:ext uri="{FF2B5EF4-FFF2-40B4-BE49-F238E27FC236}">
                <a16:creationId xmlns:a16="http://schemas.microsoft.com/office/drawing/2014/main" id="{F7D057EF-71D1-4F1A-ADBF-D9AEA409D9F5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40074" y="1512000"/>
            <a:ext cx="2124276" cy="281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15" name="Inhalt 6"/>
          <p:cNvSpPr>
            <a:spLocks noGrp="1"/>
          </p:cNvSpPr>
          <p:nvPr>
            <p:ph idx="18" hasCustomPrompt="1"/>
          </p:nvPr>
        </p:nvSpPr>
        <p:spPr bwMode="gray">
          <a:xfrm>
            <a:off x="540074" y="1512000"/>
            <a:ext cx="2124276" cy="28152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1" y="972000"/>
            <a:ext cx="11111047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 dirty="0"/>
              <a:t>Enter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  <a:r>
              <a:rPr lang="de-DE" noProof="0" dirty="0" err="1"/>
              <a:t>subtitle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4066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1" y="972000"/>
            <a:ext cx="11111047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 dirty="0"/>
              <a:t>Enter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  <a:r>
              <a:rPr lang="de-DE" noProof="0" dirty="0" err="1"/>
              <a:t>subtitle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endParaRPr lang="de-DE" noProof="0" dirty="0"/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540071" y="1512000"/>
            <a:ext cx="11111047" cy="4298400"/>
          </a:xfrm>
        </p:spPr>
        <p:txBody>
          <a:bodyPr/>
          <a:lstStyle/>
          <a:p>
            <a:pPr marL="269993" marR="0" lvl="0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ck to edit Master text styles</a:t>
            </a:r>
          </a:p>
          <a:p>
            <a:pPr marL="719982" marR="0" lvl="1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cond level</a:t>
            </a:r>
          </a:p>
          <a:p>
            <a:pPr marL="1079973" marR="0" lvl="2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ird level</a:t>
            </a:r>
          </a:p>
          <a:p>
            <a:pPr marL="1439964" marR="0" lvl="3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urth level</a:t>
            </a:r>
          </a:p>
          <a:p>
            <a:pPr marL="1799955" marR="0" lvl="4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993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91431" tIns="45715" rIns="91431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7"/>
            <a:ext cx="11134587" cy="541475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516321" y="1483952"/>
            <a:ext cx="11134799" cy="4319248"/>
          </a:xfrm>
          <a:noFill/>
        </p:spPr>
        <p:txBody>
          <a:bodyPr/>
          <a:lstStyle>
            <a:lvl1pPr>
              <a:defRPr sz="220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2022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FEHLUNGEN">
    <p:bg bwMode="gray"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Bild 1">
            <a:extLst>
              <a:ext uri="{FF2B5EF4-FFF2-40B4-BE49-F238E27FC236}">
                <a16:creationId xmlns:a16="http://schemas.microsoft.com/office/drawing/2014/main" id="{FDBAC1D6-F982-4CB7-A3BF-76A69CAA15BF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540070" y="2095200"/>
            <a:ext cx="3600468" cy="20268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2" name="Text 1">
            <a:extLst>
              <a:ext uri="{FF2B5EF4-FFF2-40B4-BE49-F238E27FC236}">
                <a16:creationId xmlns:a16="http://schemas.microsoft.com/office/drawing/2014/main" id="{CB682352-50EC-4DA2-AAF5-80ED0B0DB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3" y="4320000"/>
            <a:ext cx="3600468" cy="540000"/>
          </a:xfrm>
        </p:spPr>
        <p:txBody>
          <a:bodyPr/>
          <a:lstStyle>
            <a:lvl1pPr marL="0" indent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buNone/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52991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Bild 2">
            <a:extLst>
              <a:ext uri="{FF2B5EF4-FFF2-40B4-BE49-F238E27FC236}">
                <a16:creationId xmlns:a16="http://schemas.microsoft.com/office/drawing/2014/main" id="{3CFF6691-0D52-449F-B228-82F79CDD7BA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4295767" y="2095200"/>
            <a:ext cx="3600468" cy="20268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9428620A-732F-48B6-8A2C-A7657453B5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95361" y="4320000"/>
            <a:ext cx="3600468" cy="540000"/>
          </a:xfrm>
        </p:spPr>
        <p:txBody>
          <a:bodyPr/>
          <a:lstStyle>
            <a:lvl1pPr marL="0" indent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buNone/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52991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Bild 3">
            <a:extLst>
              <a:ext uri="{FF2B5EF4-FFF2-40B4-BE49-F238E27FC236}">
                <a16:creationId xmlns:a16="http://schemas.microsoft.com/office/drawing/2014/main" id="{F3B54565-3EA0-4861-8CD0-BA8870C0786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gray">
          <a:xfrm>
            <a:off x="8050651" y="2095200"/>
            <a:ext cx="3600468" cy="20268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4" name="Text 3">
            <a:extLst>
              <a:ext uri="{FF2B5EF4-FFF2-40B4-BE49-F238E27FC236}">
                <a16:creationId xmlns:a16="http://schemas.microsoft.com/office/drawing/2014/main" id="{2A5B4010-D1EF-4D1C-B59D-F4E11D9516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50650" y="4320000"/>
            <a:ext cx="3600468" cy="540000"/>
          </a:xfrm>
        </p:spPr>
        <p:txBody>
          <a:bodyPr/>
          <a:lstStyle>
            <a:lvl1pPr marL="0" indent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buNone/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52991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118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01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418900" y="4827967"/>
            <a:ext cx="4677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01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3488600" y="1982833"/>
            <a:ext cx="5214800" cy="1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3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874933" y="4204633"/>
            <a:ext cx="7336000" cy="22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68758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807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6326900" y="3721533"/>
            <a:ext cx="4806800" cy="6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6326900" y="1807567"/>
            <a:ext cx="4806800" cy="17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667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361001" y="337532"/>
            <a:ext cx="11604700" cy="5918368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73661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584553" y="3498977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8135173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4858361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294167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4567961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7844773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361001" y="337532"/>
            <a:ext cx="11503100" cy="5621467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899421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685559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795959" y="4088505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7933811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4864885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795959" y="2170744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7933811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4864885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4754485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7823411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683043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4751968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7820895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5244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6225033" y="1726200"/>
            <a:ext cx="4812800" cy="18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6597833" y="3775000"/>
            <a:ext cx="4440000" cy="9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361001" y="337532"/>
            <a:ext cx="11503100" cy="5381592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574389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2759489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26" imgW="444" imgH="443" progId="TCLayout.ActiveDocument.1">
                  <p:embed/>
                </p:oleObj>
              </mc:Choice>
              <mc:Fallback>
                <p:oleObj name="think-cell Folie" r:id="rId26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88048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DC9FB2-5147-C2C2-931C-9826223CD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1666938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10" imgW="444" imgH="443" progId="TCLayout.ActiveDocument.1">
                  <p:embed/>
                </p:oleObj>
              </mc:Choice>
              <mc:Fallback>
                <p:oleObj name="think-cell Folie" r:id="rId10" imgW="444" imgH="44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DC9FB2-5147-C2C2-931C-9826223CD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1" y="432000"/>
            <a:ext cx="11111047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71" y="1512000"/>
            <a:ext cx="11111047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69993" marR="0" lvl="0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ck to edit Master text styles</a:t>
            </a:r>
          </a:p>
          <a:p>
            <a:pPr marL="719982" marR="0" lvl="1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cond level</a:t>
            </a:r>
          </a:p>
          <a:p>
            <a:pPr marL="1079973" marR="0" lvl="2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ird level</a:t>
            </a:r>
          </a:p>
          <a:p>
            <a:pPr marL="1439964" marR="0" lvl="3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urth level</a:t>
            </a:r>
          </a:p>
          <a:p>
            <a:pPr marL="1799955" marR="0" lvl="4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297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9982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9964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 flipH="1" flipV="1">
            <a:off x="10534520" y="4917644"/>
            <a:ext cx="1657480" cy="1940357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685800" y="564835"/>
            <a:ext cx="2584645" cy="1089487"/>
          </a:xfrm>
          <a:custGeom>
            <a:avLst/>
            <a:gdLst/>
            <a:ahLst/>
            <a:cxnLst/>
            <a:rect l="l" t="t" r="r" b="b"/>
            <a:pathLst>
              <a:path w="3876967" h="163423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685800" y="2218805"/>
            <a:ext cx="7302707" cy="30103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7666"/>
              </a:lnSpc>
              <a:buClr>
                <a:srgbClr val="000000"/>
              </a:buClr>
            </a:pPr>
            <a: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Team Up 2025 </a:t>
            </a: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endParaRPr lang="en-US" sz="7666" kern="0" dirty="0">
              <a:solidFill>
                <a:srgbClr val="000000"/>
              </a:solidFill>
              <a:latin typeface="Titillium Web Bold"/>
              <a:cs typeface="Arial"/>
              <a:sym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785037" y="3175648"/>
            <a:ext cx="3863691" cy="3513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2800"/>
              </a:lnSpc>
              <a:buClr>
                <a:srgbClr val="000000"/>
              </a:buClr>
            </a:pPr>
            <a:r>
              <a:rPr lang="en-US" sz="21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From the idea to the market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8418015" y="2245265"/>
            <a:ext cx="3088187" cy="407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1219170">
              <a:lnSpc>
                <a:spcPts val="3267"/>
              </a:lnSpc>
              <a:buClr>
                <a:srgbClr val="000000"/>
              </a:buClr>
            </a:pPr>
            <a:r>
              <a:rPr lang="en-US" sz="23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June 26, 2025</a:t>
            </a:r>
          </a:p>
        </p:txBody>
      </p:sp>
      <p:sp>
        <p:nvSpPr>
          <p:cNvPr id="8" name="Freeform 8"/>
          <p:cNvSpPr/>
          <p:nvPr/>
        </p:nvSpPr>
        <p:spPr>
          <a:xfrm>
            <a:off x="6483752" y="685801"/>
            <a:ext cx="5022448" cy="847556"/>
          </a:xfrm>
          <a:custGeom>
            <a:avLst/>
            <a:gdLst/>
            <a:ahLst/>
            <a:cxnLst/>
            <a:rect l="l" t="t" r="r" b="b"/>
            <a:pathLst>
              <a:path w="7533672" h="1271333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A5321BB-1FB7-40AB-94DA-1FD3311B516E}"/>
              </a:ext>
            </a:extLst>
          </p:cNvPr>
          <p:cNvSpPr txBox="1"/>
          <p:nvPr/>
        </p:nvSpPr>
        <p:spPr>
          <a:xfrm>
            <a:off x="662532" y="3815582"/>
            <a:ext cx="5401799" cy="1031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lnSpc>
                <a:spcPct val="90000"/>
              </a:lnSpc>
              <a:spcAft>
                <a:spcPts val="1333"/>
              </a:spcAft>
              <a:buClr>
                <a:srgbClr val="000000"/>
              </a:buClr>
            </a:pPr>
            <a:r>
              <a:rPr lang="en-US" sz="2800" b="1" kern="0" dirty="0">
                <a:solidFill>
                  <a:schemeClr val="accent2">
                    <a:lumMod val="50000"/>
                  </a:schemeClr>
                </a:solidFill>
                <a:latin typeface="Titillium Web"/>
                <a:ea typeface="Titillium Web"/>
                <a:cs typeface="Titillium Web"/>
                <a:sym typeface="Titillium Web"/>
              </a:rPr>
              <a:t>Business Model Canvas</a:t>
            </a:r>
            <a:endParaRPr lang="en-GB" sz="2800" kern="0" dirty="0">
              <a:solidFill>
                <a:schemeClr val="accent2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(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add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your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Team /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Product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nam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her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)</a:t>
            </a:r>
            <a:endParaRPr lang="en-GB" sz="2500" b="1" dirty="0">
              <a:solidFill>
                <a:schemeClr val="accent2">
                  <a:lumMod val="50000"/>
                </a:schemeClr>
              </a:solidFill>
              <a:latin typeface="Titillium Web Bold" panose="00000800000000000000" pitchFamily="2" charset="0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F9D6A2E9-759D-45DA-8C32-4480D0E65B59}"/>
              </a:ext>
            </a:extLst>
          </p:cNvPr>
          <p:cNvSpPr/>
          <p:nvPr/>
        </p:nvSpPr>
        <p:spPr>
          <a:xfrm>
            <a:off x="7049982" y="3847624"/>
            <a:ext cx="3631134" cy="3010376"/>
          </a:xfrm>
          <a:custGeom>
            <a:avLst/>
            <a:gdLst/>
            <a:ahLst/>
            <a:cxnLst/>
            <a:rect l="l" t="t" r="r" b="b"/>
            <a:pathLst>
              <a:path w="2732020" h="2359782">
                <a:moveTo>
                  <a:pt x="0" y="0"/>
                </a:moveTo>
                <a:lnTo>
                  <a:pt x="2732020" y="0"/>
                </a:lnTo>
                <a:lnTo>
                  <a:pt x="2732020" y="2359783"/>
                </a:lnTo>
                <a:lnTo>
                  <a:pt x="0" y="235978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14DEC14-BE98-46E4-A4DB-A9D7BCA1F51E}"/>
              </a:ext>
            </a:extLst>
          </p:cNvPr>
          <p:cNvGrpSpPr/>
          <p:nvPr/>
        </p:nvGrpSpPr>
        <p:grpSpPr bwMode="gray">
          <a:xfrm>
            <a:off x="741522" y="28162"/>
            <a:ext cx="11444397" cy="5753621"/>
            <a:chOff x="540001" y="1520825"/>
            <a:chExt cx="11109600" cy="4291189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8591D40-9F0E-4ADD-B876-3D801ADE5354}"/>
                </a:ext>
              </a:extLst>
            </p:cNvPr>
            <p:cNvSpPr/>
            <p:nvPr/>
          </p:nvSpPr>
          <p:spPr bwMode="gray">
            <a:xfrm>
              <a:off x="540001" y="1520827"/>
              <a:ext cx="2221920" cy="311584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5297875-C3B3-464F-AD2B-6F017D5894B3}"/>
                </a:ext>
              </a:extLst>
            </p:cNvPr>
            <p:cNvSpPr/>
            <p:nvPr/>
          </p:nvSpPr>
          <p:spPr bwMode="gray">
            <a:xfrm>
              <a:off x="2761921" y="1520825"/>
              <a:ext cx="2221920" cy="15614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C5F30E9-E27C-4208-937E-79901B870FC4}"/>
                </a:ext>
              </a:extLst>
            </p:cNvPr>
            <p:cNvSpPr/>
            <p:nvPr/>
          </p:nvSpPr>
          <p:spPr bwMode="gray">
            <a:xfrm>
              <a:off x="4983841" y="1520827"/>
              <a:ext cx="2221920" cy="312299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9BBB59">
                    <a:lumMod val="75000"/>
                  </a:srgbClr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DF78ED-E049-48A3-8AE2-8A024E5E8846}"/>
                </a:ext>
              </a:extLst>
            </p:cNvPr>
            <p:cNvSpPr/>
            <p:nvPr/>
          </p:nvSpPr>
          <p:spPr bwMode="gray">
            <a:xfrm>
              <a:off x="7205761" y="1520826"/>
              <a:ext cx="2221920" cy="156149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FFC000">
                    <a:lumMod val="75000"/>
                  </a:srgbClr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6E8C8D3-2D11-46DC-AB8F-5BAB3858760A}"/>
                </a:ext>
              </a:extLst>
            </p:cNvPr>
            <p:cNvSpPr/>
            <p:nvPr/>
          </p:nvSpPr>
          <p:spPr bwMode="gray">
            <a:xfrm>
              <a:off x="2761918" y="3075176"/>
              <a:ext cx="2221920" cy="156864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FDB0878-471F-4F2F-A23C-E88315142CC1}"/>
                </a:ext>
              </a:extLst>
            </p:cNvPr>
            <p:cNvSpPr/>
            <p:nvPr/>
          </p:nvSpPr>
          <p:spPr bwMode="gray">
            <a:xfrm>
              <a:off x="7205758" y="3075177"/>
              <a:ext cx="2221920" cy="156864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FFC000">
                    <a:lumMod val="75000"/>
                  </a:srgbClr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671540-498B-46FD-9763-76993ADA6A9F}"/>
                </a:ext>
              </a:extLst>
            </p:cNvPr>
            <p:cNvSpPr/>
            <p:nvPr/>
          </p:nvSpPr>
          <p:spPr bwMode="gray">
            <a:xfrm>
              <a:off x="540001" y="4636672"/>
              <a:ext cx="5554796" cy="117534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3498DB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6B3E84A-FF3D-44E4-98FE-DEDAF326461E}"/>
                </a:ext>
              </a:extLst>
            </p:cNvPr>
            <p:cNvSpPr/>
            <p:nvPr/>
          </p:nvSpPr>
          <p:spPr bwMode="gray">
            <a:xfrm>
              <a:off x="6094797" y="4636672"/>
              <a:ext cx="5554801" cy="117534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3498DB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DD67A9E9-1B74-4349-938F-0CCED0927BDB}"/>
                </a:ext>
              </a:extLst>
            </p:cNvPr>
            <p:cNvSpPr/>
            <p:nvPr/>
          </p:nvSpPr>
          <p:spPr bwMode="gray">
            <a:xfrm>
              <a:off x="9427681" y="1520825"/>
              <a:ext cx="2221920" cy="311584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4CF14B0D-AEF1-4613-BF9B-913D09522429}"/>
              </a:ext>
            </a:extLst>
          </p:cNvPr>
          <p:cNvSpPr/>
          <p:nvPr/>
        </p:nvSpPr>
        <p:spPr bwMode="gray">
          <a:xfrm>
            <a:off x="2963439" y="2205879"/>
            <a:ext cx="1449020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Key </a:t>
            </a:r>
            <a:b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Resources</a:t>
            </a:r>
            <a:endParaRPr lang="en-US" sz="1600" dirty="0">
              <a:solidFill>
                <a:srgbClr val="2C3E50"/>
              </a:solidFill>
              <a:latin typeface="Bebas Neue" panose="020B0506020202020201" pitchFamily="34" charset="0"/>
              <a:cs typeface="Arial"/>
              <a:sym typeface="Arial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016C90E-E9B6-46EE-A605-A2536CC35F5C}"/>
              </a:ext>
            </a:extLst>
          </p:cNvPr>
          <p:cNvSpPr/>
          <p:nvPr/>
        </p:nvSpPr>
        <p:spPr bwMode="gray">
          <a:xfrm>
            <a:off x="7613923" y="2105365"/>
            <a:ext cx="2221920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hanne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F327041-2ED0-42E0-8BF5-7C70A679F14F}"/>
              </a:ext>
            </a:extLst>
          </p:cNvPr>
          <p:cNvSpPr/>
          <p:nvPr/>
        </p:nvSpPr>
        <p:spPr bwMode="gray">
          <a:xfrm>
            <a:off x="741522" y="4289949"/>
            <a:ext cx="3940021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ost Structure</a:t>
            </a:r>
            <a:endParaRPr lang="en-US" sz="1600" dirty="0">
              <a:solidFill>
                <a:srgbClr val="2C3E50"/>
              </a:solidFill>
              <a:latin typeface="Bebas Neue" panose="020B0506020202020201" pitchFamily="34" charset="0"/>
              <a:cs typeface="Arial"/>
              <a:sym typeface="Arial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7C7F8A1-89D2-46B3-8AEE-47AF9B084900}"/>
              </a:ext>
            </a:extLst>
          </p:cNvPr>
          <p:cNvSpPr/>
          <p:nvPr/>
        </p:nvSpPr>
        <p:spPr bwMode="gray">
          <a:xfrm>
            <a:off x="741523" y="243076"/>
            <a:ext cx="2221916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Key </a:t>
            </a:r>
            <a:b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Partner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17562E2-FD04-40A2-AC07-FCEB8B2F4AC2}"/>
              </a:ext>
            </a:extLst>
          </p:cNvPr>
          <p:cNvSpPr/>
          <p:nvPr/>
        </p:nvSpPr>
        <p:spPr bwMode="gray">
          <a:xfrm>
            <a:off x="3077903" y="112229"/>
            <a:ext cx="1603640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Key </a:t>
            </a:r>
            <a:b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Activitie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24AD4D-3025-4952-A7EC-8EA2EBB6CA6C}"/>
              </a:ext>
            </a:extLst>
          </p:cNvPr>
          <p:cNvSpPr/>
          <p:nvPr/>
        </p:nvSpPr>
        <p:spPr bwMode="gray">
          <a:xfrm>
            <a:off x="5335745" y="112229"/>
            <a:ext cx="2071536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Value </a:t>
            </a:r>
            <a:b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Proposi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E6827CE-E616-4A2F-861D-BAAADEFDA549}"/>
              </a:ext>
            </a:extLst>
          </p:cNvPr>
          <p:cNvSpPr/>
          <p:nvPr/>
        </p:nvSpPr>
        <p:spPr bwMode="gray">
          <a:xfrm>
            <a:off x="7622325" y="112229"/>
            <a:ext cx="1655700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ustomer Relationships</a:t>
            </a:r>
            <a:endParaRPr lang="en-US" sz="1600" dirty="0">
              <a:solidFill>
                <a:srgbClr val="2C3E50"/>
              </a:solidFill>
              <a:latin typeface="Bebas Neue" panose="020B0506020202020201" pitchFamily="34" charset="0"/>
              <a:cs typeface="Arial"/>
              <a:sym typeface="Arial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1D657EA-0A8B-4116-B10E-591CECB00450}"/>
              </a:ext>
            </a:extLst>
          </p:cNvPr>
          <p:cNvSpPr/>
          <p:nvPr/>
        </p:nvSpPr>
        <p:spPr bwMode="gray">
          <a:xfrm>
            <a:off x="9827639" y="112229"/>
            <a:ext cx="1527837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ustomer Segment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E8997B8-6A93-46D5-A436-67124D625FC1}"/>
              </a:ext>
            </a:extLst>
          </p:cNvPr>
          <p:cNvSpPr/>
          <p:nvPr/>
        </p:nvSpPr>
        <p:spPr bwMode="gray">
          <a:xfrm>
            <a:off x="6594084" y="4300865"/>
            <a:ext cx="3428309" cy="32550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Revenue Streams</a:t>
            </a:r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id="{E7731B51-BEC2-4D66-8E27-23B37ECD932C}"/>
              </a:ext>
            </a:extLst>
          </p:cNvPr>
          <p:cNvSpPr/>
          <p:nvPr/>
        </p:nvSpPr>
        <p:spPr>
          <a:xfrm>
            <a:off x="8147879" y="6026713"/>
            <a:ext cx="3358323" cy="566728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B43B2196-3849-4740-8A45-CC748B66012D}"/>
              </a:ext>
            </a:extLst>
          </p:cNvPr>
          <p:cNvSpPr/>
          <p:nvPr/>
        </p:nvSpPr>
        <p:spPr>
          <a:xfrm>
            <a:off x="685800" y="6026714"/>
            <a:ext cx="1505035" cy="634407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EF08FB7-C2C0-4514-BFEA-6D720189986A}"/>
              </a:ext>
            </a:extLst>
          </p:cNvPr>
          <p:cNvSpPr txBox="1"/>
          <p:nvPr/>
        </p:nvSpPr>
        <p:spPr>
          <a:xfrm rot="16200000">
            <a:off x="-1143313" y="4041421"/>
            <a:ext cx="3078852" cy="31895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defTabSz="1219170">
              <a:lnSpc>
                <a:spcPct val="90000"/>
              </a:lnSpc>
              <a:spcAft>
                <a:spcPts val="1333"/>
              </a:spcAft>
              <a:buClr>
                <a:srgbClr val="000000"/>
              </a:buClr>
            </a:pPr>
            <a:r>
              <a:rPr lang="en-US" sz="3733" b="1" kern="0" dirty="0">
                <a:solidFill>
                  <a:srgbClr val="814993">
                    <a:lumMod val="50000"/>
                  </a:srgbClr>
                </a:solidFill>
                <a:latin typeface="Titillium Web"/>
                <a:ea typeface="Titillium Web"/>
                <a:cs typeface="Titillium Web"/>
                <a:sym typeface="Titillium Web"/>
              </a:rPr>
              <a:t>Business Model Canvas</a:t>
            </a:r>
            <a:endParaRPr lang="en-GB" sz="37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451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RESENTATIONLOAD">
  <a:themeElements>
    <a:clrScheme name="Benutzerdefiniert 3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8B00C54E9A4458AA9E89745AF4A9F" ma:contentTypeVersion="12" ma:contentTypeDescription="Ein neues Dokument erstellen." ma:contentTypeScope="" ma:versionID="0ead14d855999cb864b4f6ce39adbb23">
  <xsd:schema xmlns:xsd="http://www.w3.org/2001/XMLSchema" xmlns:xs="http://www.w3.org/2001/XMLSchema" xmlns:p="http://schemas.microsoft.com/office/2006/metadata/properties" xmlns:ns3="c7bc4340-b040-4ab0-9594-09bc24f60c36" xmlns:ns4="dda4a6e4-fa3f-4326-afe4-365fbf8b885d" targetNamespace="http://schemas.microsoft.com/office/2006/metadata/properties" ma:root="true" ma:fieldsID="8cbab6a89706f4e057b1f2344d54adc3" ns3:_="" ns4:_="">
    <xsd:import namespace="c7bc4340-b040-4ab0-9594-09bc24f60c36"/>
    <xsd:import namespace="dda4a6e4-fa3f-4326-afe4-365fbf8b88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c4340-b040-4ab0-9594-09bc24f60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a4a6e4-fa3f-4326-afe4-365fbf8b885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7bc4340-b040-4ab0-9594-09bc24f60c36" xsi:nil="true"/>
  </documentManagement>
</p:properties>
</file>

<file path=customXml/itemProps1.xml><?xml version="1.0" encoding="utf-8"?>
<ds:datastoreItem xmlns:ds="http://schemas.openxmlformats.org/officeDocument/2006/customXml" ds:itemID="{0FDE4AAC-2709-48C6-9431-DBEBEDEAF0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bc4340-b040-4ab0-9594-09bc24f60c36"/>
    <ds:schemaRef ds:uri="dda4a6e4-fa3f-4326-afe4-365fbf8b88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5406B8-1585-47CC-976B-9D3F7DA1D2E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1A3308-7371-4919-B740-228E86D18ABC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dda4a6e4-fa3f-4326-afe4-365fbf8b885d"/>
    <ds:schemaRef ds:uri="c7bc4340-b040-4ab0-9594-09bc24f60c3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Breitbild</PresentationFormat>
  <Paragraphs>15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6" baseType="lpstr">
      <vt:lpstr>Arial</vt:lpstr>
      <vt:lpstr>Bebas Neue</vt:lpstr>
      <vt:lpstr>Calibri</vt:lpstr>
      <vt:lpstr>Calibri Light</vt:lpstr>
      <vt:lpstr>Libre Franklin</vt:lpstr>
      <vt:lpstr>Open Sans</vt:lpstr>
      <vt:lpstr>Poppins ExtraBold</vt:lpstr>
      <vt:lpstr>Raleway Black</vt:lpstr>
      <vt:lpstr>Titillium Web</vt:lpstr>
      <vt:lpstr>Titillium Web Bold</vt:lpstr>
      <vt:lpstr>Wingdings</vt:lpstr>
      <vt:lpstr>2_Management System Planner by Slidesgo</vt:lpstr>
      <vt:lpstr>2_PRESENTATIONLOAD</vt:lpstr>
      <vt:lpstr>think-cell Foli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otype canvas</dc:title>
  <dc:creator>Sylwia Sekula-Neuner</dc:creator>
  <cp:lastModifiedBy>Sylwia Sekula-Neuner</cp:lastModifiedBy>
  <cp:revision>5</cp:revision>
  <dcterms:created xsi:type="dcterms:W3CDTF">2023-06-28T08:43:16Z</dcterms:created>
  <dcterms:modified xsi:type="dcterms:W3CDTF">2025-06-24T13:1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8B00C54E9A4458AA9E89745AF4A9F</vt:lpwstr>
  </property>
</Properties>
</file>